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2"/>
    <p:sldMasterId id="2147483655" r:id="rId3"/>
    <p:sldMasterId id="2147483661" r:id="rId4"/>
  </p:sldMasterIdLst>
  <p:notesMasterIdLst>
    <p:notesMasterId r:id="rId18"/>
  </p:notesMasterIdLst>
  <p:sldIdLst>
    <p:sldId id="393" r:id="rId5"/>
    <p:sldId id="394" r:id="rId6"/>
    <p:sldId id="396" r:id="rId7"/>
    <p:sldId id="384" r:id="rId8"/>
    <p:sldId id="390" r:id="rId9"/>
    <p:sldId id="397" r:id="rId10"/>
    <p:sldId id="399" r:id="rId11"/>
    <p:sldId id="389" r:id="rId12"/>
    <p:sldId id="403" r:id="rId13"/>
    <p:sldId id="404" r:id="rId14"/>
    <p:sldId id="408" r:id="rId15"/>
    <p:sldId id="409" r:id="rId16"/>
    <p:sldId id="407" r:id="rId17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>
        <p:scale>
          <a:sx n="50" d="100"/>
          <a:sy n="50" d="100"/>
        </p:scale>
        <p:origin x="352" y="-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  <a:t>2024/11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</a:p>
          <a:p>
            <a:r>
              <a:rPr lang="zh-CN" altLang="en-US"/>
              <a:t>clip_fraction ：被截断的梯度比例，限制策略变化变化。</a:t>
            </a:r>
          </a:p>
          <a:p>
            <a:r>
              <a:rPr lang="zh-CN" altLang="en-US"/>
              <a:t>clip_range ：允许的策略更新范围，超参数</a:t>
            </a:r>
          </a:p>
          <a:p>
            <a:r>
              <a:rPr lang="zh-CN" altLang="en-US"/>
              <a:t>entropy_loss ：熵损失，熵越高策略随机性越大，逐渐确定最佳策略，理应逐渐下降。</a:t>
            </a:r>
          </a:p>
          <a:p>
            <a:r>
              <a:rPr lang="zh-CN" altLang="en-US"/>
              <a:t>explained_variance：解释方差，越接近</a:t>
            </a:r>
            <a:r>
              <a:rPr lang="en-US" altLang="zh-CN"/>
              <a:t>1</a:t>
            </a:r>
            <a:r>
              <a:rPr lang="zh-CN" altLang="en-US"/>
              <a:t>越优，说明价值函数对实际奖励的拟合越好。</a:t>
            </a:r>
          </a:p>
          <a:p>
            <a:r>
              <a:rPr lang="zh-CN" altLang="en-US"/>
              <a:t>learning_rate：学习率，用于控制梯度更新的步长，超参数。</a:t>
            </a:r>
          </a:p>
          <a:p>
            <a:r>
              <a:rPr lang="zh-CN" altLang="en-US"/>
              <a:t>总体损失函数值</a:t>
            </a:r>
          </a:p>
          <a:p>
            <a:r>
              <a:rPr lang="zh-CN" altLang="en-US"/>
              <a:t>策略梯度损失</a:t>
            </a:r>
          </a:p>
          <a:p>
            <a:r>
              <a:rPr lang="zh-CN" altLang="en-US"/>
              <a:t>价值损失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D65A2E-CA51-303F-DF76-0A1127DFF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0342FCE-322F-5E5E-7ADB-8D511A2AF1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96129AC1-7681-2444-876A-721A7504A3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41CAA0C-31D4-018B-FA2A-B84C67478E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7841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10D54D-1BEC-E4FF-7F67-419AB9FABA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1BC87B3-D7D1-3527-9A37-146D5054F3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D26ADBD-DAE9-D68F-4D00-DCEE7827DD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4A6C2AA-B7F1-D6B1-A109-59194F9F3DB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162B0CA7-0187-4883-6958-B44A145B06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0305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0F2850-DB34-F419-40F7-85D281345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D5CACC1-BE97-69B8-9D0F-960C288EFB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7424CC6-78C3-6532-0320-7DD2C02248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C4F575C-38D4-CDF1-9434-416F36B0EE3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FEBCFFD-0E26-C962-27F2-6A5700E438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0437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652155-E2F0-4322-02B4-E7160CCF06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3A83A1F3-AB3B-D1EA-8086-F2DF491A33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01DCF725-7A9D-D3AB-240D-1B29B8624C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8940E99-756E-26E8-AAC9-11AA9924E92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5E01E84F-2FC1-9906-0AC2-400BBA7183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5278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30.png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16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  <a:t>2024/11/16</a:t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16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16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6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16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  <a:t>2024/11/1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  <a:t>‹#›</a:t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</a:p>
          <a:p>
            <a:pPr lvl="1"/>
            <a:r>
              <a:rPr lang="en-US" altLang="zh-SG" dirty="0"/>
              <a:t>Second level</a:t>
            </a:r>
          </a:p>
          <a:p>
            <a:pPr lvl="2"/>
            <a:r>
              <a:rPr lang="en-US" altLang="zh-SG" dirty="0"/>
              <a:t>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tags" Target="../tags/tag2.x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microsoft.com/office/2007/relationships/hdphoto" Target="../media/hdphoto1.wdp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7">
            <a:alphaModFix amt="4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8">
            <a:alphaModFix amt="8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  <a:t>2024/11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 dirty="0"/>
              <a:t>组会报告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D53181-1CF6-CABD-383F-DB6EBC1797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832A7655-9512-76BA-942E-CB26099458E7}"/>
              </a:ext>
            </a:extLst>
          </p:cNvPr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93E6B91E-A20A-6254-50B6-BBB4D0B97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4-11.20</a:t>
            </a:r>
            <a:r>
              <a:rPr lang="zh-CN" altLang="en-US" dirty="0"/>
              <a:t>组会报告</a:t>
            </a:r>
          </a:p>
        </p:txBody>
      </p:sp>
    </p:spTree>
    <p:extLst>
      <p:ext uri="{BB962C8B-B14F-4D97-AF65-F5344CB8AC3E}">
        <p14:creationId xmlns:p14="http://schemas.microsoft.com/office/powerpoint/2010/main" val="222022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82C0CF-5A8A-8B5E-613B-A4B5F4B5F8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E5B0C0-AF89-9BB8-DFD9-D01A859D5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5CDA983D-4725-6FCC-D35D-675B3E385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45DE18-9FBD-15AE-A6DF-4C7A8CE97A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7EB0D2C-8794-D2C9-5B41-A6D65F504060}"/>
              </a:ext>
            </a:extLst>
          </p:cNvPr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88857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AA10D-C996-E49E-19CA-11E2A96F3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3667C9-C2F5-F4F2-2ABA-6541993EB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6D77368-338F-ED9D-6CB6-1C2764E28D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715BA63-23E8-00F4-B2EE-9942020D46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D85598D-1D6F-ED71-513B-2231969020F6}"/>
              </a:ext>
            </a:extLst>
          </p:cNvPr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C3845EA-AA34-6C97-EB23-86D523C71C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2736" y="2766797"/>
            <a:ext cx="6634329" cy="2823915"/>
          </a:xfrm>
          <a:prstGeom prst="rect">
            <a:avLst/>
          </a:prstGeom>
        </p:spPr>
      </p:pic>
      <p:pic>
        <p:nvPicPr>
          <p:cNvPr id="7" name="7e84bb5af1f11d5d817f0e3e3d6569dd">
            <a:hlinkClick r:id="" action="ppaction://media"/>
            <a:extLst>
              <a:ext uri="{FF2B5EF4-FFF2-40B4-BE49-F238E27FC236}">
                <a16:creationId xmlns:a16="http://schemas.microsoft.com/office/drawing/2014/main" id="{317575F9-CB7C-D55E-D819-9D451CD550C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7519702" y="1767365"/>
            <a:ext cx="4572000" cy="457200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5E22CD4A-58CD-FD2F-8722-6178034A6CA8}"/>
              </a:ext>
            </a:extLst>
          </p:cNvPr>
          <p:cNvSpPr txBox="1"/>
          <p:nvPr/>
        </p:nvSpPr>
        <p:spPr>
          <a:xfrm>
            <a:off x="1450750" y="1525207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</a:p>
        </p:txBody>
      </p:sp>
    </p:spTree>
    <p:extLst>
      <p:ext uri="{BB962C8B-B14F-4D97-AF65-F5344CB8AC3E}">
        <p14:creationId xmlns:p14="http://schemas.microsoft.com/office/powerpoint/2010/main" val="1960688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774AB0-E135-F0D3-C550-470262BB16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6205B61-016E-B135-5F1E-A928F494BEB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39221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2</a:t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3</a:t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6</a:t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7</a:t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3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</a:p>
        </p:txBody>
      </p:sp>
      <p:pic>
        <p:nvPicPr>
          <p:cNvPr id="11" name="图片 10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5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6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9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zcyODMxYTE0ZTc0ZGU3Y2QwODc3MzYzN2Q1YmNiM2E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</TotalTime>
  <Words>481</Words>
  <Application>Microsoft Office PowerPoint</Application>
  <PresentationFormat>宽屏</PresentationFormat>
  <Paragraphs>83</Paragraphs>
  <Slides>13</Slides>
  <Notes>9</Notes>
  <HiddenSlides>0</HiddenSlides>
  <MMClips>1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3</vt:i4>
      </vt:variant>
    </vt:vector>
  </HeadingPairs>
  <TitlesOfParts>
    <vt:vector size="29" baseType="lpstr">
      <vt:lpstr>BMW Group</vt:lpstr>
      <vt:lpstr>BMW Group Condensed</vt:lpstr>
      <vt:lpstr>等线</vt:lpstr>
      <vt:lpstr>黑体</vt:lpstr>
      <vt:lpstr>宋体</vt:lpstr>
      <vt:lpstr>微软雅黑</vt:lpstr>
      <vt:lpstr>Arial</vt:lpstr>
      <vt:lpstr>Calibri</vt:lpstr>
      <vt:lpstr>Impact</vt:lpstr>
      <vt:lpstr>Symbol</vt:lpstr>
      <vt:lpstr>Times New Roman</vt:lpstr>
      <vt:lpstr>Wingdings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报告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14-11.20组会报告</vt:lpstr>
      <vt:lpstr>二、本周任务完成情况</vt:lpstr>
      <vt:lpstr>二、本周任务完成情况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成 秦</cp:lastModifiedBy>
  <cp:revision>28</cp:revision>
  <dcterms:created xsi:type="dcterms:W3CDTF">2023-11-15T12:07:00Z</dcterms:created>
  <dcterms:modified xsi:type="dcterms:W3CDTF">2024-11-16T13:0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